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62" r:id="rId3"/>
    <p:sldId id="257" r:id="rId4"/>
    <p:sldId id="258" r:id="rId5"/>
    <p:sldId id="259" r:id="rId6"/>
    <p:sldId id="260" r:id="rId7"/>
    <p:sldId id="261" r:id="rId8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4EA4F5-CF70-4671-BB40-290A1FA825C5}" v="706" dt="2021-07-20T13:36:39.34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03"/>
    <p:restoredTop sz="95755"/>
  </p:normalViewPr>
  <p:slideViewPr>
    <p:cSldViewPr snapToGrid="0" snapToObjects="1">
      <p:cViewPr varScale="1">
        <p:scale>
          <a:sx n="122" d="100"/>
          <a:sy n="122" d="100"/>
        </p:scale>
        <p:origin x="3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lla, Matt (Rivervale) AUS" userId="7f0b4c79-970d-4dba-9fca-4c69ccb8f27c" providerId="ADAL" clId="{D34EA4F5-CF70-4671-BB40-290A1FA825C5}"/>
    <pc:docChg chg="undo redo custSel addSld delSld modSld modMainMaster">
      <pc:chgData name="Vella, Matt (Rivervale) AUS" userId="7f0b4c79-970d-4dba-9fca-4c69ccb8f27c" providerId="ADAL" clId="{D34EA4F5-CF70-4671-BB40-290A1FA825C5}" dt="2021-07-20T13:26:56.118" v="2456"/>
      <pc:docMkLst>
        <pc:docMk/>
      </pc:docMkLst>
      <pc:sldChg chg="modSp mod">
        <pc:chgData name="Vella, Matt (Rivervale) AUS" userId="7f0b4c79-970d-4dba-9fca-4c69ccb8f27c" providerId="ADAL" clId="{D34EA4F5-CF70-4671-BB40-290A1FA825C5}" dt="2021-07-20T13:01:19.787" v="525" actId="20577"/>
        <pc:sldMkLst>
          <pc:docMk/>
          <pc:sldMk cId="1975636416" sldId="257"/>
        </pc:sldMkLst>
        <pc:spChg chg="mod">
          <ac:chgData name="Vella, Matt (Rivervale) AUS" userId="7f0b4c79-970d-4dba-9fca-4c69ccb8f27c" providerId="ADAL" clId="{D34EA4F5-CF70-4671-BB40-290A1FA825C5}" dt="2021-07-20T13:01:19.787" v="525" actId="20577"/>
          <ac:spMkLst>
            <pc:docMk/>
            <pc:sldMk cId="1975636416" sldId="257"/>
            <ac:spMk id="3" creationId="{FFD077DB-61BE-D545-AB6F-33A858A1F900}"/>
          </ac:spMkLst>
        </pc:spChg>
      </pc:sldChg>
      <pc:sldChg chg="modSp mod">
        <pc:chgData name="Vella, Matt (Rivervale) AUS" userId="7f0b4c79-970d-4dba-9fca-4c69ccb8f27c" providerId="ADAL" clId="{D34EA4F5-CF70-4671-BB40-290A1FA825C5}" dt="2021-07-20T13:02:14.275" v="527" actId="20577"/>
        <pc:sldMkLst>
          <pc:docMk/>
          <pc:sldMk cId="3605735444" sldId="258"/>
        </pc:sldMkLst>
        <pc:spChg chg="mod">
          <ac:chgData name="Vella, Matt (Rivervale) AUS" userId="7f0b4c79-970d-4dba-9fca-4c69ccb8f27c" providerId="ADAL" clId="{D34EA4F5-CF70-4671-BB40-290A1FA825C5}" dt="2021-07-20T13:02:14.275" v="527" actId="20577"/>
          <ac:spMkLst>
            <pc:docMk/>
            <pc:sldMk cId="3605735444" sldId="258"/>
            <ac:spMk id="3" creationId="{77BA2A27-149B-6444-995F-AB52A0471C43}"/>
          </ac:spMkLst>
        </pc:spChg>
      </pc:sldChg>
      <pc:sldChg chg="addSp delSp modSp mod delDesignElem">
        <pc:chgData name="Vella, Matt (Rivervale) AUS" userId="7f0b4c79-970d-4dba-9fca-4c69ccb8f27c" providerId="ADAL" clId="{D34EA4F5-CF70-4671-BB40-290A1FA825C5}" dt="2021-07-20T13:26:56.118" v="2456"/>
        <pc:sldMkLst>
          <pc:docMk/>
          <pc:sldMk cId="3284770987" sldId="259"/>
        </pc:sldMkLst>
        <pc:spChg chg="mod ord">
          <ac:chgData name="Vella, Matt (Rivervale) AUS" userId="7f0b4c79-970d-4dba-9fca-4c69ccb8f27c" providerId="ADAL" clId="{D34EA4F5-CF70-4671-BB40-290A1FA825C5}" dt="2021-07-20T13:26:55.738" v="2417" actId="948"/>
          <ac:spMkLst>
            <pc:docMk/>
            <pc:sldMk cId="3284770987" sldId="259"/>
            <ac:spMk id="2" creationId="{6286FC3A-AD00-584E-8A59-79637B14BE52}"/>
          </ac:spMkLst>
        </pc:spChg>
        <pc:spChg chg="mod ord">
          <ac:chgData name="Vella, Matt (Rivervale) AUS" userId="7f0b4c79-970d-4dba-9fca-4c69ccb8f27c" providerId="ADAL" clId="{D34EA4F5-CF70-4671-BB40-290A1FA825C5}" dt="2021-07-20T13:26:55.214" v="2416" actId="1036"/>
          <ac:spMkLst>
            <pc:docMk/>
            <pc:sldMk cId="3284770987" sldId="259"/>
            <ac:spMk id="3" creationId="{14499A12-F068-3547-964B-56759BA59D53}"/>
          </ac:spMkLst>
        </pc:spChg>
        <pc:spChg chg="add del mod modVis">
          <ac:chgData name="Vella, Matt (Rivervale) AUS" userId="7f0b4c79-970d-4dba-9fca-4c69ccb8f27c" providerId="ADAL" clId="{D34EA4F5-CF70-4671-BB40-290A1FA825C5}" dt="2021-07-20T12:58:08.837" v="182"/>
          <ac:spMkLst>
            <pc:docMk/>
            <pc:sldMk cId="3284770987" sldId="259"/>
            <ac:spMk id="6" creationId="{ABD1D409-30C9-4AE0-9268-BFA9BE9DD535}"/>
          </ac:spMkLst>
        </pc:spChg>
        <pc:spChg chg="add del mod modVis">
          <ac:chgData name="Vella, Matt (Rivervale) AUS" userId="7f0b4c79-970d-4dba-9fca-4c69ccb8f27c" providerId="ADAL" clId="{D34EA4F5-CF70-4671-BB40-290A1FA825C5}" dt="2021-07-20T12:58:10.027" v="227"/>
          <ac:spMkLst>
            <pc:docMk/>
            <pc:sldMk cId="3284770987" sldId="259"/>
            <ac:spMk id="8" creationId="{995A32D7-70B0-40F2-B75E-F8BED794A4E6}"/>
          </ac:spMkLst>
        </pc:spChg>
        <pc:spChg chg="add del mod modVis">
          <ac:chgData name="Vella, Matt (Rivervale) AUS" userId="7f0b4c79-970d-4dba-9fca-4c69ccb8f27c" providerId="ADAL" clId="{D34EA4F5-CF70-4671-BB40-290A1FA825C5}" dt="2021-07-20T12:58:11.569" v="271"/>
          <ac:spMkLst>
            <pc:docMk/>
            <pc:sldMk cId="3284770987" sldId="259"/>
            <ac:spMk id="9" creationId="{EBAB9402-0D24-45D6-AF26-D95A17C295C0}"/>
          </ac:spMkLst>
        </pc:spChg>
        <pc:spChg chg="add del mod ord">
          <ac:chgData name="Vella, Matt (Rivervale) AUS" userId="7f0b4c79-970d-4dba-9fca-4c69ccb8f27c" providerId="ADAL" clId="{D34EA4F5-CF70-4671-BB40-290A1FA825C5}" dt="2021-07-20T13:26:24.559" v="2288"/>
          <ac:spMkLst>
            <pc:docMk/>
            <pc:sldMk cId="3284770987" sldId="259"/>
            <ac:spMk id="12" creationId="{0CABCAE3-64FC-4149-819F-2C1812824154}"/>
          </ac:spMkLst>
        </pc:spChg>
        <pc:spChg chg="add del mod modVis">
          <ac:chgData name="Vella, Matt (Rivervale) AUS" userId="7f0b4c79-970d-4dba-9fca-4c69ccb8f27c" providerId="ADAL" clId="{D34EA4F5-CF70-4671-BB40-290A1FA825C5}" dt="2021-07-20T13:24:56.220" v="1771"/>
          <ac:spMkLst>
            <pc:docMk/>
            <pc:sldMk cId="3284770987" sldId="259"/>
            <ac:spMk id="13" creationId="{68E01C02-D6D1-4CF6-811D-92007F3BFD76}"/>
          </ac:spMkLst>
        </pc:spChg>
        <pc:spChg chg="add del mod modVis">
          <ac:chgData name="Vella, Matt (Rivervale) AUS" userId="7f0b4c79-970d-4dba-9fca-4c69ccb8f27c" providerId="ADAL" clId="{D34EA4F5-CF70-4671-BB40-290A1FA825C5}" dt="2021-07-20T13:24:53.860" v="1655"/>
          <ac:spMkLst>
            <pc:docMk/>
            <pc:sldMk cId="3284770987" sldId="259"/>
            <ac:spMk id="15" creationId="{8B063AAD-7EDF-47B3-A137-7225FF1A11A6}"/>
          </ac:spMkLst>
        </pc:spChg>
        <pc:spChg chg="add del mod modVis">
          <ac:chgData name="Vella, Matt (Rivervale) AUS" userId="7f0b4c79-970d-4dba-9fca-4c69ccb8f27c" providerId="ADAL" clId="{D34EA4F5-CF70-4671-BB40-290A1FA825C5}" dt="2021-07-20T13:24:56.220" v="1771"/>
          <ac:spMkLst>
            <pc:docMk/>
            <pc:sldMk cId="3284770987" sldId="259"/>
            <ac:spMk id="17" creationId="{13201614-6BED-468E-8A20-510B60B74773}"/>
          </ac:spMkLst>
        </pc:spChg>
        <pc:spChg chg="add del mod modVis">
          <ac:chgData name="Vella, Matt (Rivervale) AUS" userId="7f0b4c79-970d-4dba-9fca-4c69ccb8f27c" providerId="ADAL" clId="{D34EA4F5-CF70-4671-BB40-290A1FA825C5}" dt="2021-07-20T13:25:12.915" v="2004" actId="478"/>
          <ac:spMkLst>
            <pc:docMk/>
            <pc:sldMk cId="3284770987" sldId="259"/>
            <ac:spMk id="19" creationId="{76A14206-8D9B-4C2C-BDD8-11903A030D40}"/>
          </ac:spMkLst>
        </pc:spChg>
        <pc:spChg chg="add del mod ord">
          <ac:chgData name="Vella, Matt (Rivervale) AUS" userId="7f0b4c79-970d-4dba-9fca-4c69ccb8f27c" providerId="ADAL" clId="{D34EA4F5-CF70-4671-BB40-290A1FA825C5}" dt="2021-07-20T13:26:24.559" v="2288"/>
          <ac:spMkLst>
            <pc:docMk/>
            <pc:sldMk cId="3284770987" sldId="259"/>
            <ac:spMk id="20" creationId="{8BC298DB-2D5C-40A1-9A78-6B4A12198A9B}"/>
          </ac:spMkLst>
        </pc:spChg>
        <pc:spChg chg="add del mod ord">
          <ac:chgData name="Vella, Matt (Rivervale) AUS" userId="7f0b4c79-970d-4dba-9fca-4c69ccb8f27c" providerId="ADAL" clId="{D34EA4F5-CF70-4671-BB40-290A1FA825C5}" dt="2021-07-20T13:26:24.559" v="2288"/>
          <ac:spMkLst>
            <pc:docMk/>
            <pc:sldMk cId="3284770987" sldId="259"/>
            <ac:spMk id="22" creationId="{35C2355B-7CE9-4192-9142-A41CA0A0C08B}"/>
          </ac:spMkLst>
        </pc:spChg>
        <pc:spChg chg="add del mod ord modVis">
          <ac:chgData name="Vella, Matt (Rivervale) AUS" userId="7f0b4c79-970d-4dba-9fca-4c69ccb8f27c" providerId="ADAL" clId="{D34EA4F5-CF70-4671-BB40-290A1FA825C5}" dt="2021-07-20T13:26:05.741" v="2128" actId="962"/>
          <ac:spMkLst>
            <pc:docMk/>
            <pc:sldMk cId="3284770987" sldId="259"/>
            <ac:spMk id="25" creationId="{A411AF04-3D55-44C7-B415-7F4EAC29027B}"/>
          </ac:spMkLst>
        </pc:spChg>
        <pc:spChg chg="add del mod ord modVis">
          <ac:chgData name="Vella, Matt (Rivervale) AUS" userId="7f0b4c79-970d-4dba-9fca-4c69ccb8f27c" providerId="ADAL" clId="{D34EA4F5-CF70-4671-BB40-290A1FA825C5}" dt="2021-07-20T13:26:10.624" v="2197"/>
          <ac:spMkLst>
            <pc:docMk/>
            <pc:sldMk cId="3284770987" sldId="259"/>
            <ac:spMk id="27" creationId="{D33427B4-AB78-42E6-9D21-4A7E14705D33}"/>
          </ac:spMkLst>
        </pc:spChg>
        <pc:spChg chg="add del mod modVis">
          <ac:chgData name="Vella, Matt (Rivervale) AUS" userId="7f0b4c79-970d-4dba-9fca-4c69ccb8f27c" providerId="ADAL" clId="{D34EA4F5-CF70-4671-BB40-290A1FA825C5}" dt="2021-07-20T13:26:41.958" v="2352"/>
          <ac:spMkLst>
            <pc:docMk/>
            <pc:sldMk cId="3284770987" sldId="259"/>
            <ac:spMk id="29" creationId="{FA624DBF-E60E-4F23-9DA2-98A84FC78CBC}"/>
          </ac:spMkLst>
        </pc:spChg>
        <pc:spChg chg="add del mod modVis">
          <ac:chgData name="Vella, Matt (Rivervale) AUS" userId="7f0b4c79-970d-4dba-9fca-4c69ccb8f27c" providerId="ADAL" clId="{D34EA4F5-CF70-4671-BB40-290A1FA825C5}" dt="2021-07-20T13:26:54.577" v="2397"/>
          <ac:spMkLst>
            <pc:docMk/>
            <pc:sldMk cId="3284770987" sldId="259"/>
            <ac:spMk id="30" creationId="{378D865C-E1E1-43E5-B992-034D9611F4B4}"/>
          </ac:spMkLst>
        </pc:spChg>
        <pc:spChg chg="add del mod modVis">
          <ac:chgData name="Vella, Matt (Rivervale) AUS" userId="7f0b4c79-970d-4dba-9fca-4c69ccb8f27c" providerId="ADAL" clId="{D34EA4F5-CF70-4671-BB40-290A1FA825C5}" dt="2021-07-20T13:26:56.106" v="2454"/>
          <ac:spMkLst>
            <pc:docMk/>
            <pc:sldMk cId="3284770987" sldId="259"/>
            <ac:spMk id="31" creationId="{080F5306-2C46-48CD-86FB-BB50EBB61DAF}"/>
          </ac:spMkLst>
        </pc:spChg>
        <pc:graphicFrameChg chg="add mod ord modVis">
          <ac:chgData name="Vella, Matt (Rivervale) AUS" userId="7f0b4c79-970d-4dba-9fca-4c69ccb8f27c" providerId="ADAL" clId="{D34EA4F5-CF70-4671-BB40-290A1FA825C5}" dt="2021-07-20T13:26:56.118" v="2456"/>
          <ac:graphicFrameMkLst>
            <pc:docMk/>
            <pc:sldMk cId="3284770987" sldId="259"/>
            <ac:graphicFrameMk id="4" creationId="{89EBA8B9-6ADF-465B-872A-65D8C9868555}"/>
          </ac:graphicFrameMkLst>
        </pc:graphicFrameChg>
        <pc:picChg chg="del">
          <ac:chgData name="Vella, Matt (Rivervale) AUS" userId="7f0b4c79-970d-4dba-9fca-4c69ccb8f27c" providerId="ADAL" clId="{D34EA4F5-CF70-4671-BB40-290A1FA825C5}" dt="2021-07-20T12:57:35.690" v="62" actId="478"/>
          <ac:picMkLst>
            <pc:docMk/>
            <pc:sldMk cId="3284770987" sldId="259"/>
            <ac:picMk id="5" creationId="{21061D96-9100-AF49-9CC9-7E3236B5B972}"/>
          </ac:picMkLst>
        </pc:picChg>
        <pc:picChg chg="del">
          <ac:chgData name="Vella, Matt (Rivervale) AUS" userId="7f0b4c79-970d-4dba-9fca-4c69ccb8f27c" providerId="ADAL" clId="{D34EA4F5-CF70-4671-BB40-290A1FA825C5}" dt="2021-07-20T13:19:44.854" v="1355" actId="478"/>
          <ac:picMkLst>
            <pc:docMk/>
            <pc:sldMk cId="3284770987" sldId="259"/>
            <ac:picMk id="7" creationId="{F1377BC1-0531-B948-97CB-8E49710E046C}"/>
          </ac:picMkLst>
        </pc:picChg>
        <pc:picChg chg="add del mod ord">
          <ac:chgData name="Vella, Matt (Rivervale) AUS" userId="7f0b4c79-970d-4dba-9fca-4c69ccb8f27c" providerId="ADAL" clId="{D34EA4F5-CF70-4671-BB40-290A1FA825C5}" dt="2021-07-20T13:25:42.883" v="2008" actId="478"/>
          <ac:picMkLst>
            <pc:docMk/>
            <pc:sldMk cId="3284770987" sldId="259"/>
            <ac:picMk id="11" creationId="{3674C4F8-E0F3-40C3-A7A5-7D59942B4C71}"/>
          </ac:picMkLst>
        </pc:picChg>
        <pc:picChg chg="add del mod ord">
          <ac:chgData name="Vella, Matt (Rivervale) AUS" userId="7f0b4c79-970d-4dba-9fca-4c69ccb8f27c" providerId="ADAL" clId="{D34EA4F5-CF70-4671-BB40-290A1FA825C5}" dt="2021-07-20T13:26:24.559" v="2288"/>
          <ac:picMkLst>
            <pc:docMk/>
            <pc:sldMk cId="3284770987" sldId="259"/>
            <ac:picMk id="14" creationId="{012FDCFE-9AD2-4D8A-8CBF-B3AA37EBF6DD}"/>
          </ac:picMkLst>
        </pc:picChg>
        <pc:picChg chg="add mod ord">
          <ac:chgData name="Vella, Matt (Rivervale) AUS" userId="7f0b4c79-970d-4dba-9fca-4c69ccb8f27c" providerId="ADAL" clId="{D34EA4F5-CF70-4671-BB40-290A1FA825C5}" dt="2021-07-20T13:26:35.893" v="2307"/>
          <ac:picMkLst>
            <pc:docMk/>
            <pc:sldMk cId="3284770987" sldId="259"/>
            <ac:picMk id="23" creationId="{596DEEAF-8F92-4BCD-B81A-EAE62871DDC0}"/>
          </ac:picMkLst>
        </pc:picChg>
        <pc:picChg chg="add del mod ord">
          <ac:chgData name="Vella, Matt (Rivervale) AUS" userId="7f0b4c79-970d-4dba-9fca-4c69ccb8f27c" providerId="ADAL" clId="{D34EA4F5-CF70-4671-BB40-290A1FA825C5}" dt="2021-07-20T13:26:24.559" v="2288"/>
          <ac:picMkLst>
            <pc:docMk/>
            <pc:sldMk cId="3284770987" sldId="259"/>
            <ac:picMk id="26" creationId="{45CE2E7C-6AA3-4710-825D-4CDDF788C7BC}"/>
          </ac:picMkLst>
        </pc:picChg>
        <pc:cxnChg chg="add del mod ord">
          <ac:chgData name="Vella, Matt (Rivervale) AUS" userId="7f0b4c79-970d-4dba-9fca-4c69ccb8f27c" providerId="ADAL" clId="{D34EA4F5-CF70-4671-BB40-290A1FA825C5}" dt="2021-07-20T13:26:24.559" v="2288"/>
          <ac:cxnSpMkLst>
            <pc:docMk/>
            <pc:sldMk cId="3284770987" sldId="259"/>
            <ac:cxnSpMk id="16" creationId="{FBD463FC-4CA8-4FF4-85A3-AF9F4B98D210}"/>
          </ac:cxnSpMkLst>
        </pc:cxnChg>
        <pc:cxnChg chg="add del mod ord">
          <ac:chgData name="Vella, Matt (Rivervale) AUS" userId="7f0b4c79-970d-4dba-9fca-4c69ccb8f27c" providerId="ADAL" clId="{D34EA4F5-CF70-4671-BB40-290A1FA825C5}" dt="2021-07-20T13:26:24.559" v="2288"/>
          <ac:cxnSpMkLst>
            <pc:docMk/>
            <pc:sldMk cId="3284770987" sldId="259"/>
            <ac:cxnSpMk id="18" creationId="{BECF35C3-8B44-4F4B-BD25-4C01823DB22A}"/>
          </ac:cxnSpMkLst>
        </pc:cxnChg>
        <pc:cxnChg chg="add del mod ord">
          <ac:chgData name="Vella, Matt (Rivervale) AUS" userId="7f0b4c79-970d-4dba-9fca-4c69ccb8f27c" providerId="ADAL" clId="{D34EA4F5-CF70-4671-BB40-290A1FA825C5}" dt="2021-07-20T13:26:24.559" v="2288"/>
          <ac:cxnSpMkLst>
            <pc:docMk/>
            <pc:sldMk cId="3284770987" sldId="259"/>
            <ac:cxnSpMk id="24" creationId="{06D05ED8-39E4-42F8-92CB-704C2BD0D215}"/>
          </ac:cxnSpMkLst>
        </pc:cxnChg>
        <pc:cxnChg chg="add del mod ord">
          <ac:chgData name="Vella, Matt (Rivervale) AUS" userId="7f0b4c79-970d-4dba-9fca-4c69ccb8f27c" providerId="ADAL" clId="{D34EA4F5-CF70-4671-BB40-290A1FA825C5}" dt="2021-07-20T13:26:24.559" v="2288"/>
          <ac:cxnSpMkLst>
            <pc:docMk/>
            <pc:sldMk cId="3284770987" sldId="259"/>
            <ac:cxnSpMk id="28" creationId="{3256C6C3-0EDC-4651-AB37-9F26CFAA6C86}"/>
          </ac:cxnSpMkLst>
        </pc:cxnChg>
      </pc:sldChg>
      <pc:sldChg chg="addSp modSp mod">
        <pc:chgData name="Vella, Matt (Rivervale) AUS" userId="7f0b4c79-970d-4dba-9fca-4c69ccb8f27c" providerId="ADAL" clId="{D34EA4F5-CF70-4671-BB40-290A1FA825C5}" dt="2021-07-20T13:23:08.841" v="1592" actId="1076"/>
        <pc:sldMkLst>
          <pc:docMk/>
          <pc:sldMk cId="2445476889" sldId="260"/>
        </pc:sldMkLst>
        <pc:spChg chg="mod">
          <ac:chgData name="Vella, Matt (Rivervale) AUS" userId="7f0b4c79-970d-4dba-9fca-4c69ccb8f27c" providerId="ADAL" clId="{D34EA4F5-CF70-4671-BB40-290A1FA825C5}" dt="2021-07-20T13:04:30.208" v="576" actId="948"/>
          <ac:spMkLst>
            <pc:docMk/>
            <pc:sldMk cId="2445476889" sldId="260"/>
            <ac:spMk id="2" creationId="{58D09449-FF1C-8B40-8F4F-12A161CADF3A}"/>
          </ac:spMkLst>
        </pc:spChg>
        <pc:spChg chg="mod">
          <ac:chgData name="Vella, Matt (Rivervale) AUS" userId="7f0b4c79-970d-4dba-9fca-4c69ccb8f27c" providerId="ADAL" clId="{D34EA4F5-CF70-4671-BB40-290A1FA825C5}" dt="2021-07-20T13:04:22.863" v="574" actId="20577"/>
          <ac:spMkLst>
            <pc:docMk/>
            <pc:sldMk cId="2445476889" sldId="260"/>
            <ac:spMk id="3" creationId="{45193FB7-94A1-0548-A604-84764B1A1938}"/>
          </ac:spMkLst>
        </pc:spChg>
        <pc:graphicFrameChg chg="add mod ord modVis">
          <ac:chgData name="Vella, Matt (Rivervale) AUS" userId="7f0b4c79-970d-4dba-9fca-4c69ccb8f27c" providerId="ADAL" clId="{D34EA4F5-CF70-4671-BB40-290A1FA825C5}" dt="2021-07-20T13:04:30.343" v="591"/>
          <ac:graphicFrameMkLst>
            <pc:docMk/>
            <pc:sldMk cId="2445476889" sldId="260"/>
            <ac:graphicFrameMk id="4" creationId="{66DEF727-79B1-4CE2-AA6B-E424C00C13D9}"/>
          </ac:graphicFrameMkLst>
        </pc:graphicFrameChg>
        <pc:picChg chg="mod">
          <ac:chgData name="Vella, Matt (Rivervale) AUS" userId="7f0b4c79-970d-4dba-9fca-4c69ccb8f27c" providerId="ADAL" clId="{D34EA4F5-CF70-4671-BB40-290A1FA825C5}" dt="2021-07-20T13:23:08.841" v="1592" actId="1076"/>
          <ac:picMkLst>
            <pc:docMk/>
            <pc:sldMk cId="2445476889" sldId="260"/>
            <ac:picMk id="5" creationId="{A066FB0A-762E-A149-B90D-957CBB5905E8}"/>
          </ac:picMkLst>
        </pc:picChg>
      </pc:sldChg>
      <pc:sldChg chg="addSp delSp modSp add mod setBg">
        <pc:chgData name="Vella, Matt (Rivervale) AUS" userId="7f0b4c79-970d-4dba-9fca-4c69ccb8f27c" providerId="ADAL" clId="{D34EA4F5-CF70-4671-BB40-290A1FA825C5}" dt="2021-07-20T13:14:52.022" v="1118"/>
        <pc:sldMkLst>
          <pc:docMk/>
          <pc:sldMk cId="3754315581" sldId="261"/>
        </pc:sldMkLst>
        <pc:spChg chg="mod ord">
          <ac:chgData name="Vella, Matt (Rivervale) AUS" userId="7f0b4c79-970d-4dba-9fca-4c69ccb8f27c" providerId="ADAL" clId="{D34EA4F5-CF70-4671-BB40-290A1FA825C5}" dt="2021-07-20T13:14:52.005" v="1112"/>
          <ac:spMkLst>
            <pc:docMk/>
            <pc:sldMk cId="3754315581" sldId="261"/>
            <ac:spMk id="2" creationId="{58D09449-FF1C-8B40-8F4F-12A161CADF3A}"/>
          </ac:spMkLst>
        </pc:spChg>
        <pc:spChg chg="mod ord">
          <ac:chgData name="Vella, Matt (Rivervale) AUS" userId="7f0b4c79-970d-4dba-9fca-4c69ccb8f27c" providerId="ADAL" clId="{D34EA4F5-CF70-4671-BB40-290A1FA825C5}" dt="2021-07-20T13:14:52.013" v="1116"/>
          <ac:spMkLst>
            <pc:docMk/>
            <pc:sldMk cId="3754315581" sldId="261"/>
            <ac:spMk id="3" creationId="{45193FB7-94A1-0548-A604-84764B1A1938}"/>
          </ac:spMkLst>
        </pc:spChg>
        <pc:spChg chg="add del mod modVis">
          <ac:chgData name="Vella, Matt (Rivervale) AUS" userId="7f0b4c79-970d-4dba-9fca-4c69ccb8f27c" providerId="ADAL" clId="{D34EA4F5-CF70-4671-BB40-290A1FA825C5}" dt="2021-07-20T13:04:37.808" v="640"/>
          <ac:spMkLst>
            <pc:docMk/>
            <pc:sldMk cId="3754315581" sldId="261"/>
            <ac:spMk id="6" creationId="{5090A3CE-A80D-4125-B189-7BC55F951A9E}"/>
          </ac:spMkLst>
        </pc:spChg>
        <pc:spChg chg="mod ord">
          <ac:chgData name="Vella, Matt (Rivervale) AUS" userId="7f0b4c79-970d-4dba-9fca-4c69ccb8f27c" providerId="ADAL" clId="{D34EA4F5-CF70-4671-BB40-290A1FA825C5}" dt="2021-07-20T13:14:52" v="1110"/>
          <ac:spMkLst>
            <pc:docMk/>
            <pc:sldMk cId="3754315581" sldId="261"/>
            <ac:spMk id="10" creationId="{368B8211-0B9F-4516-8771-3316E00DB965}"/>
          </ac:spMkLst>
        </pc:spChg>
        <pc:graphicFrameChg chg="mod ord">
          <ac:chgData name="Vella, Matt (Rivervale) AUS" userId="7f0b4c79-970d-4dba-9fca-4c69ccb8f27c" providerId="ADAL" clId="{D34EA4F5-CF70-4671-BB40-290A1FA825C5}" dt="2021-07-20T13:14:52.022" v="1118"/>
          <ac:graphicFrameMkLst>
            <pc:docMk/>
            <pc:sldMk cId="3754315581" sldId="261"/>
            <ac:graphicFrameMk id="4" creationId="{66DEF727-79B1-4CE2-AA6B-E424C00C13D9}"/>
          </ac:graphicFrameMkLst>
        </pc:graphicFrameChg>
        <pc:picChg chg="add del">
          <ac:chgData name="Vella, Matt (Rivervale) AUS" userId="7f0b4c79-970d-4dba-9fca-4c69ccb8f27c" providerId="ADAL" clId="{D34EA4F5-CF70-4671-BB40-290A1FA825C5}" dt="2021-07-20T13:14:06.219" v="1055" actId="478"/>
          <ac:picMkLst>
            <pc:docMk/>
            <pc:sldMk cId="3754315581" sldId="261"/>
            <ac:picMk id="5" creationId="{A066FB0A-762E-A149-B90D-957CBB5905E8}"/>
          </ac:picMkLst>
        </pc:picChg>
        <pc:picChg chg="add mod ord">
          <ac:chgData name="Vella, Matt (Rivervale) AUS" userId="7f0b4c79-970d-4dba-9fca-4c69ccb8f27c" providerId="ADAL" clId="{D34EA4F5-CF70-4671-BB40-290A1FA825C5}" dt="2021-07-20T13:14:51.995" v="1108"/>
          <ac:picMkLst>
            <pc:docMk/>
            <pc:sldMk cId="3754315581" sldId="261"/>
            <ac:picMk id="8" creationId="{05E4CF82-E05E-496A-A7D0-C6C47AC7192A}"/>
          </ac:picMkLst>
        </pc:picChg>
        <pc:cxnChg chg="mod ord">
          <ac:chgData name="Vella, Matt (Rivervale) AUS" userId="7f0b4c79-970d-4dba-9fca-4c69ccb8f27c" providerId="ADAL" clId="{D34EA4F5-CF70-4671-BB40-290A1FA825C5}" dt="2021-07-20T13:14:52.010" v="1114"/>
          <ac:cxnSpMkLst>
            <pc:docMk/>
            <pc:sldMk cId="3754315581" sldId="261"/>
            <ac:cxnSpMk id="12" creationId="{B7582E73-8B46-4A0E-944E-58357C80883F}"/>
          </ac:cxnSpMkLst>
        </pc:cxnChg>
      </pc:sldChg>
      <pc:sldChg chg="addSp delSp modSp add mod setBg delDesignElem">
        <pc:chgData name="Vella, Matt (Rivervale) AUS" userId="7f0b4c79-970d-4dba-9fca-4c69ccb8f27c" providerId="ADAL" clId="{D34EA4F5-CF70-4671-BB40-290A1FA825C5}" dt="2021-07-20T13:18:32.091" v="1354" actId="1076"/>
        <pc:sldMkLst>
          <pc:docMk/>
          <pc:sldMk cId="69536783" sldId="262"/>
        </pc:sldMkLst>
        <pc:spChg chg="add del mod ord">
          <ac:chgData name="Vella, Matt (Rivervale) AUS" userId="7f0b4c79-970d-4dba-9fca-4c69ccb8f27c" providerId="ADAL" clId="{D34EA4F5-CF70-4671-BB40-290A1FA825C5}" dt="2021-07-20T13:16:56.159" v="1317"/>
          <ac:spMkLst>
            <pc:docMk/>
            <pc:sldMk cId="69536783" sldId="262"/>
            <ac:spMk id="2" creationId="{1BC9B49F-4DEA-6A45-BB49-CFBE4323FBB4}"/>
          </ac:spMkLst>
        </pc:spChg>
        <pc:spChg chg="del">
          <ac:chgData name="Vella, Matt (Rivervale) AUS" userId="7f0b4c79-970d-4dba-9fca-4c69ccb8f27c" providerId="ADAL" clId="{D34EA4F5-CF70-4671-BB40-290A1FA825C5}" dt="2021-07-20T13:15:23.335" v="1123" actId="478"/>
          <ac:spMkLst>
            <pc:docMk/>
            <pc:sldMk cId="69536783" sldId="262"/>
            <ac:spMk id="3" creationId="{FFD077DB-61BE-D545-AB6F-33A858A1F900}"/>
          </ac:spMkLst>
        </pc:spChg>
        <pc:spChg chg="add del mod">
          <ac:chgData name="Vella, Matt (Rivervale) AUS" userId="7f0b4c79-970d-4dba-9fca-4c69ccb8f27c" providerId="ADAL" clId="{D34EA4F5-CF70-4671-BB40-290A1FA825C5}" dt="2021-07-20T13:15:37.629" v="1151" actId="478"/>
          <ac:spMkLst>
            <pc:docMk/>
            <pc:sldMk cId="69536783" sldId="262"/>
            <ac:spMk id="6" creationId="{877EB2B8-09F7-4F68-9616-88E3EB209087}"/>
          </ac:spMkLst>
        </pc:spChg>
        <pc:spChg chg="add del mod">
          <ac:chgData name="Vella, Matt (Rivervale) AUS" userId="7f0b4c79-970d-4dba-9fca-4c69ccb8f27c" providerId="ADAL" clId="{D34EA4F5-CF70-4671-BB40-290A1FA825C5}" dt="2021-07-20T13:15:35.216" v="1150" actId="478"/>
          <ac:spMkLst>
            <pc:docMk/>
            <pc:sldMk cId="69536783" sldId="262"/>
            <ac:spMk id="8" creationId="{E5EC9506-613E-46E6-B40E-1FDF5773C0FF}"/>
          </ac:spMkLst>
        </pc:spChg>
        <pc:spChg chg="del">
          <ac:chgData name="Vella, Matt (Rivervale) AUS" userId="7f0b4c79-970d-4dba-9fca-4c69ccb8f27c" providerId="ADAL" clId="{D34EA4F5-CF70-4671-BB40-290A1FA825C5}" dt="2021-07-20T13:15:16.230" v="1122"/>
          <ac:spMkLst>
            <pc:docMk/>
            <pc:sldMk cId="69536783" sldId="262"/>
            <ac:spMk id="10" creationId="{F2AF0D79-4A1A-4F27-B9F0-CF252C4AC91C}"/>
          </ac:spMkLst>
        </pc:spChg>
        <pc:spChg chg="add del mod modVis">
          <ac:chgData name="Vella, Matt (Rivervale) AUS" userId="7f0b4c79-970d-4dba-9fca-4c69ccb8f27c" providerId="ADAL" clId="{D34EA4F5-CF70-4671-BB40-290A1FA825C5}" dt="2021-07-20T13:15:42.809" v="1194"/>
          <ac:spMkLst>
            <pc:docMk/>
            <pc:sldMk cId="69536783" sldId="262"/>
            <ac:spMk id="11" creationId="{CAEB828E-2E64-4694-AE47-D378AD3008D2}"/>
          </ac:spMkLst>
        </pc:spChg>
        <pc:spChg chg="add del mod modVis">
          <ac:chgData name="Vella, Matt (Rivervale) AUS" userId="7f0b4c79-970d-4dba-9fca-4c69ccb8f27c" providerId="ADAL" clId="{D34EA4F5-CF70-4671-BB40-290A1FA825C5}" dt="2021-07-20T13:15:44.562" v="1252"/>
          <ac:spMkLst>
            <pc:docMk/>
            <pc:sldMk cId="69536783" sldId="262"/>
            <ac:spMk id="14" creationId="{8B0A6DFA-6026-419A-B962-32F67FD61A4B}"/>
          </ac:spMkLst>
        </pc:spChg>
        <pc:spChg chg="add del mod modVis">
          <ac:chgData name="Vella, Matt (Rivervale) AUS" userId="7f0b4c79-970d-4dba-9fca-4c69ccb8f27c" providerId="ADAL" clId="{D34EA4F5-CF70-4671-BB40-290A1FA825C5}" dt="2021-07-20T13:15:45.959" v="1298"/>
          <ac:spMkLst>
            <pc:docMk/>
            <pc:sldMk cId="69536783" sldId="262"/>
            <ac:spMk id="15" creationId="{C51895EF-00BD-4C1D-AE8A-6D1EFD1CAC9E}"/>
          </ac:spMkLst>
        </pc:spChg>
        <pc:graphicFrameChg chg="add mod ord modVis">
          <ac:chgData name="Vella, Matt (Rivervale) AUS" userId="7f0b4c79-970d-4dba-9fca-4c69ccb8f27c" providerId="ADAL" clId="{D34EA4F5-CF70-4671-BB40-290A1FA825C5}" dt="2021-07-20T13:15:35.183" v="1149" actId="14100"/>
          <ac:graphicFrameMkLst>
            <pc:docMk/>
            <pc:sldMk cId="69536783" sldId="262"/>
            <ac:graphicFrameMk id="9" creationId="{79B01CD8-570E-44FC-8863-920C1B146594}"/>
          </ac:graphicFrameMkLst>
        </pc:graphicFrameChg>
        <pc:graphicFrameChg chg="add mod ord modVis">
          <ac:chgData name="Vella, Matt (Rivervale) AUS" userId="7f0b4c79-970d-4dba-9fca-4c69ccb8f27c" providerId="ADAL" clId="{D34EA4F5-CF70-4671-BB40-290A1FA825C5}" dt="2021-07-20T13:16:56.169" v="1319"/>
          <ac:graphicFrameMkLst>
            <pc:docMk/>
            <pc:sldMk cId="69536783" sldId="262"/>
            <ac:graphicFrameMk id="13" creationId="{EE48DB04-1C27-4C3D-8094-11F313554017}"/>
          </ac:graphicFrameMkLst>
        </pc:graphicFrameChg>
        <pc:picChg chg="del">
          <ac:chgData name="Vella, Matt (Rivervale) AUS" userId="7f0b4c79-970d-4dba-9fca-4c69ccb8f27c" providerId="ADAL" clId="{D34EA4F5-CF70-4671-BB40-290A1FA825C5}" dt="2021-07-20T13:15:26.527" v="1124" actId="478"/>
          <ac:picMkLst>
            <pc:docMk/>
            <pc:sldMk cId="69536783" sldId="262"/>
            <ac:picMk id="5" creationId="{7084FD14-2088-AF44-9D8B-397EA0237DF6}"/>
          </ac:picMkLst>
        </pc:picChg>
        <pc:picChg chg="add mod ord">
          <ac:chgData name="Vella, Matt (Rivervale) AUS" userId="7f0b4c79-970d-4dba-9fca-4c69ccb8f27c" providerId="ADAL" clId="{D34EA4F5-CF70-4671-BB40-290A1FA825C5}" dt="2021-07-20T13:17:13.793" v="1323" actId="14100"/>
          <ac:picMkLst>
            <pc:docMk/>
            <pc:sldMk cId="69536783" sldId="262"/>
            <ac:picMk id="17" creationId="{272E2DAD-0452-4485-B888-C8C1095D02B2}"/>
          </ac:picMkLst>
        </pc:picChg>
        <pc:picChg chg="add mod">
          <ac:chgData name="Vella, Matt (Rivervale) AUS" userId="7f0b4c79-970d-4dba-9fca-4c69ccb8f27c" providerId="ADAL" clId="{D34EA4F5-CF70-4671-BB40-290A1FA825C5}" dt="2021-07-20T13:18:32.091" v="1354" actId="1076"/>
          <ac:picMkLst>
            <pc:docMk/>
            <pc:sldMk cId="69536783" sldId="262"/>
            <ac:picMk id="18" creationId="{7B41F5CB-FA9C-46E9-9256-B3030D740CDA}"/>
          </ac:picMkLst>
        </pc:picChg>
        <pc:cxnChg chg="del">
          <ac:chgData name="Vella, Matt (Rivervale) AUS" userId="7f0b4c79-970d-4dba-9fca-4c69ccb8f27c" providerId="ADAL" clId="{D34EA4F5-CF70-4671-BB40-290A1FA825C5}" dt="2021-07-20T13:15:16.230" v="1122"/>
          <ac:cxnSpMkLst>
            <pc:docMk/>
            <pc:sldMk cId="69536783" sldId="262"/>
            <ac:cxnSpMk id="12" creationId="{8E83266B-97F8-4AB9-818F-3A70E8D8580D}"/>
          </ac:cxnSpMkLst>
        </pc:cxnChg>
      </pc:sldChg>
      <pc:sldChg chg="add del">
        <pc:chgData name="Vella, Matt (Rivervale) AUS" userId="7f0b4c79-970d-4dba-9fca-4c69ccb8f27c" providerId="ADAL" clId="{D34EA4F5-CF70-4671-BB40-290A1FA825C5}" dt="2021-07-20T13:15:13.159" v="1120" actId="47"/>
        <pc:sldMkLst>
          <pc:docMk/>
          <pc:sldMk cId="3350399872" sldId="262"/>
        </pc:sldMkLst>
      </pc:sldChg>
      <pc:sldChg chg="addSp delSp modSp add del mod setBg delDesignElem">
        <pc:chgData name="Vella, Matt (Rivervale) AUS" userId="7f0b4c79-970d-4dba-9fca-4c69ccb8f27c" providerId="ADAL" clId="{D34EA4F5-CF70-4671-BB40-290A1FA825C5}" dt="2021-07-20T13:24:48.752" v="1614"/>
        <pc:sldMkLst>
          <pc:docMk/>
          <pc:sldMk cId="1332212195" sldId="263"/>
        </pc:sldMkLst>
        <pc:spChg chg="add del">
          <ac:chgData name="Vella, Matt (Rivervale) AUS" userId="7f0b4c79-970d-4dba-9fca-4c69ccb8f27c" providerId="ADAL" clId="{D34EA4F5-CF70-4671-BB40-290A1FA825C5}" dt="2021-07-20T13:24:48.752" v="1614"/>
          <ac:spMkLst>
            <pc:docMk/>
            <pc:sldMk cId="1332212195" sldId="263"/>
            <ac:spMk id="10" creationId="{F2AF0D79-4A1A-4F27-B9F0-CF252C4AC91C}"/>
          </ac:spMkLst>
        </pc:spChg>
        <pc:picChg chg="add del">
          <ac:chgData name="Vella, Matt (Rivervale) AUS" userId="7f0b4c79-970d-4dba-9fca-4c69ccb8f27c" providerId="ADAL" clId="{D34EA4F5-CF70-4671-BB40-290A1FA825C5}" dt="2021-07-20T13:24:48.638" v="1613" actId="478"/>
          <ac:picMkLst>
            <pc:docMk/>
            <pc:sldMk cId="1332212195" sldId="263"/>
            <ac:picMk id="5" creationId="{0238846B-9EB2-4D40-B189-DB77D98B0663}"/>
          </ac:picMkLst>
        </pc:picChg>
        <pc:picChg chg="add del mod">
          <ac:chgData name="Vella, Matt (Rivervale) AUS" userId="7f0b4c79-970d-4dba-9fca-4c69ccb8f27c" providerId="ADAL" clId="{D34EA4F5-CF70-4671-BB40-290A1FA825C5}" dt="2021-07-20T13:24:47.413" v="1612" actId="931"/>
          <ac:picMkLst>
            <pc:docMk/>
            <pc:sldMk cId="1332212195" sldId="263"/>
            <ac:picMk id="6" creationId="{A0032789-0BDE-498C-A7B2-58EA7C779E17}"/>
          </ac:picMkLst>
        </pc:picChg>
        <pc:cxnChg chg="add del">
          <ac:chgData name="Vella, Matt (Rivervale) AUS" userId="7f0b4c79-970d-4dba-9fca-4c69ccb8f27c" providerId="ADAL" clId="{D34EA4F5-CF70-4671-BB40-290A1FA825C5}" dt="2021-07-20T13:24:48.752" v="1614"/>
          <ac:cxnSpMkLst>
            <pc:docMk/>
            <pc:sldMk cId="1332212195" sldId="263"/>
            <ac:cxnSpMk id="12" creationId="{8E83266B-97F8-4AB9-818F-3A70E8D8580D}"/>
          </ac:cxnSpMkLst>
        </pc:cxnChg>
      </pc:sldChg>
      <pc:sldChg chg="addSp delSp modSp add del mod setBg delDesignElem">
        <pc:chgData name="Vella, Matt (Rivervale) AUS" userId="7f0b4c79-970d-4dba-9fca-4c69ccb8f27c" providerId="ADAL" clId="{D34EA4F5-CF70-4671-BB40-290A1FA825C5}" dt="2021-07-20T13:24:53.142" v="1618"/>
        <pc:sldMkLst>
          <pc:docMk/>
          <pc:sldMk cId="3755270014" sldId="263"/>
        </pc:sldMkLst>
        <pc:spChg chg="add del">
          <ac:chgData name="Vella, Matt (Rivervale) AUS" userId="7f0b4c79-970d-4dba-9fca-4c69ccb8f27c" providerId="ADAL" clId="{D34EA4F5-CF70-4671-BB40-290A1FA825C5}" dt="2021-07-20T13:24:53.142" v="1618"/>
          <ac:spMkLst>
            <pc:docMk/>
            <pc:sldMk cId="3755270014" sldId="263"/>
            <ac:spMk id="10" creationId="{F2AF0D79-4A1A-4F27-B9F0-CF252C4AC91C}"/>
          </ac:spMkLst>
        </pc:spChg>
        <pc:picChg chg="add del">
          <ac:chgData name="Vella, Matt (Rivervale) AUS" userId="7f0b4c79-970d-4dba-9fca-4c69ccb8f27c" providerId="ADAL" clId="{D34EA4F5-CF70-4671-BB40-290A1FA825C5}" dt="2021-07-20T13:24:51.648" v="1617" actId="478"/>
          <ac:picMkLst>
            <pc:docMk/>
            <pc:sldMk cId="3755270014" sldId="263"/>
            <ac:picMk id="5" creationId="{0238846B-9EB2-4D40-B189-DB77D98B0663}"/>
          </ac:picMkLst>
        </pc:picChg>
        <pc:picChg chg="add del mod">
          <ac:chgData name="Vella, Matt (Rivervale) AUS" userId="7f0b4c79-970d-4dba-9fca-4c69ccb8f27c" providerId="ADAL" clId="{D34EA4F5-CF70-4671-BB40-290A1FA825C5}" dt="2021-07-20T13:24:51.096" v="1616"/>
          <ac:picMkLst>
            <pc:docMk/>
            <pc:sldMk cId="3755270014" sldId="263"/>
            <ac:picMk id="7" creationId="{266C4881-0B76-4795-9622-0C14690B99F1}"/>
          </ac:picMkLst>
        </pc:picChg>
        <pc:cxnChg chg="add del">
          <ac:chgData name="Vella, Matt (Rivervale) AUS" userId="7f0b4c79-970d-4dba-9fca-4c69ccb8f27c" providerId="ADAL" clId="{D34EA4F5-CF70-4671-BB40-290A1FA825C5}" dt="2021-07-20T13:24:53.142" v="1618"/>
          <ac:cxnSpMkLst>
            <pc:docMk/>
            <pc:sldMk cId="3755270014" sldId="263"/>
            <ac:cxnSpMk id="12" creationId="{8E83266B-97F8-4AB9-818F-3A70E8D8580D}"/>
          </ac:cxnSpMkLst>
        </pc:cxnChg>
      </pc:sldChg>
      <pc:sldMasterChg chg="addSp delSp modSp mod">
        <pc:chgData name="Vella, Matt (Rivervale) AUS" userId="7f0b4c79-970d-4dba-9fca-4c69ccb8f27c" providerId="ADAL" clId="{D34EA4F5-CF70-4671-BB40-290A1FA825C5}" dt="2021-07-20T12:58:07.421" v="121"/>
        <pc:sldMasterMkLst>
          <pc:docMk/>
          <pc:sldMasterMk cId="0" sldId="2147483648"/>
        </pc:sldMasterMkLst>
        <pc:spChg chg="mod">
          <ac:chgData name="Vella, Matt (Rivervale) AUS" userId="7f0b4c79-970d-4dba-9fca-4c69ccb8f27c" providerId="ADAL" clId="{D34EA4F5-CF70-4671-BB40-290A1FA825C5}" dt="2021-07-20T12:58:06.968" v="68" actId="948"/>
          <ac:spMkLst>
            <pc:docMk/>
            <pc:sldMasterMk cId="0" sldId="2147483648"/>
            <ac:spMk id="2" creationId="{00000000-0000-0000-0000-000000000000}"/>
          </ac:spMkLst>
        </pc:spChg>
        <pc:spChg chg="mod">
          <ac:chgData name="Vella, Matt (Rivervale) AUS" userId="7f0b4c79-970d-4dba-9fca-4c69ccb8f27c" providerId="ADAL" clId="{D34EA4F5-CF70-4671-BB40-290A1FA825C5}" dt="2021-07-20T12:58:06.946" v="67" actId="20577"/>
          <ac:spMkLst>
            <pc:docMk/>
            <pc:sldMasterMk cId="0" sldId="2147483648"/>
            <ac:spMk id="8" creationId="{00000000-0000-0000-0000-000000000000}"/>
          </ac:spMkLst>
        </pc:spChg>
        <pc:spChg chg="add del mod modVis">
          <ac:chgData name="Vella, Matt (Rivervale) AUS" userId="7f0b4c79-970d-4dba-9fca-4c69ccb8f27c" providerId="ADAL" clId="{D34EA4F5-CF70-4671-BB40-290A1FA825C5}" dt="2021-07-20T12:58:07.270" v="106"/>
          <ac:spMkLst>
            <pc:docMk/>
            <pc:sldMasterMk cId="0" sldId="2147483648"/>
            <ac:spMk id="9" creationId="{1BDA2BFB-2727-4244-8691-4F60586B6F62}"/>
          </ac:spMkLst>
        </pc:spChg>
        <pc:graphicFrameChg chg="add mod ord modVis">
          <ac:chgData name="Vella, Matt (Rivervale) AUS" userId="7f0b4c79-970d-4dba-9fca-4c69ccb8f27c" providerId="ADAL" clId="{D34EA4F5-CF70-4671-BB40-290A1FA825C5}" dt="2021-07-20T12:58:07.421" v="121"/>
          <ac:graphicFrameMkLst>
            <pc:docMk/>
            <pc:sldMasterMk cId="0" sldId="2147483648"/>
            <ac:graphicFrameMk id="11" creationId="{097BFC32-50F1-4D78-B754-7C8989347923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7/2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7/2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97BFC32-50F1-4D78-B754-7C89893479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86072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1" imgH="411" progId="TCLayout.ActiveDocument.1">
                  <p:embed/>
                </p:oleObj>
              </mc:Choice>
              <mc:Fallback>
                <p:oleObj name="think-cell Slide" r:id="rId14" imgW="411" imgH="41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97BFC32-50F1-4D78-B754-7C89893479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7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hyperlink" Target="https://whisky-discography.herokuapp.com/" TargetMode="External"/><Relationship Id="rId5" Type="http://schemas.openxmlformats.org/officeDocument/2006/relationships/image" Target="../media/image8.jp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0.jp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65513E21-21B0-48DB-8CF1-35E43B33A4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icture containing vessel, barrel&#10;&#10;Description automatically generated">
            <a:extLst>
              <a:ext uri="{FF2B5EF4-FFF2-40B4-BE49-F238E27FC236}">
                <a16:creationId xmlns:a16="http://schemas.microsoft.com/office/drawing/2014/main" id="{E65C4520-2F36-9F4A-AC6E-7019A37DB07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 t="9720" r="-1" b="6008"/>
          <a:stretch/>
        </p:blipFill>
        <p:spPr>
          <a:xfrm>
            <a:off x="20" y="10"/>
            <a:ext cx="12191675" cy="68579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28E9FA-95DB-2240-9A71-08F0E2A886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76636" y="992221"/>
            <a:ext cx="6247308" cy="4873558"/>
          </a:xfrm>
        </p:spPr>
        <p:txBody>
          <a:bodyPr anchor="ctr">
            <a:normAutofit/>
          </a:bodyPr>
          <a:lstStyle/>
          <a:p>
            <a:r>
              <a:rPr lang="en-US" sz="4800" dirty="0"/>
              <a:t>WHISKY Discography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80B8A35-DEA7-4D43-9DF8-90B4681D0F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1600200"/>
            <a:ext cx="0" cy="3657600"/>
          </a:xfrm>
          <a:prstGeom prst="line">
            <a:avLst/>
          </a:prstGeom>
          <a:ln w="31750">
            <a:solidFill>
              <a:schemeClr val="tx1">
                <a:alpha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3904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E48DB04-1C27-4C3D-8094-11F3135540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6001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E48DB04-1C27-4C3D-8094-11F3135540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272E2DAD-0452-4485-B888-C8C1095D02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BC9B49F-4DEA-6A45-BB49-CFBE4323FB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4017" y="804520"/>
            <a:ext cx="6815731" cy="1049235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The Motivation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B41F5CB-FA9C-46E9-9256-B3030D740CDA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38000"/>
          </a:blip>
          <a:stretch>
            <a:fillRect/>
          </a:stretch>
        </p:blipFill>
        <p:spPr>
          <a:xfrm>
            <a:off x="8921362" y="198783"/>
            <a:ext cx="1667713" cy="1497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367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084FD14-2088-AF44-9D8B-397EA0237DF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28" r="-1" b="-1"/>
          <a:stretch/>
        </p:blipFill>
        <p:spPr>
          <a:xfrm>
            <a:off x="2" y="10"/>
            <a:ext cx="12191695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2AF0D79-4A1A-4F27-B9F0-CF252C4AC9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178" y="636753"/>
            <a:ext cx="8299435" cy="5572810"/>
          </a:xfrm>
          <a:prstGeom prst="rect">
            <a:avLst/>
          </a:prstGeom>
          <a:solidFill>
            <a:srgbClr val="000001">
              <a:alpha val="7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C9B49F-4DEA-6A45-BB49-CFBE4323FB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4017" y="804520"/>
            <a:ext cx="6815731" cy="104923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Questions – Whisky hunter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E83266B-97F8-4AB9-818F-3A70E8D858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306385" y="1847088"/>
            <a:ext cx="6813363" cy="0"/>
          </a:xfrm>
          <a:prstGeom prst="line">
            <a:avLst/>
          </a:prstGeom>
          <a:ln w="31750">
            <a:solidFill>
              <a:srgbClr val="9B5E1E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D077DB-61BE-D545-AB6F-33A858A1F9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4017" y="2015733"/>
            <a:ext cx="6815731" cy="4021267"/>
          </a:xfrm>
        </p:spPr>
        <p:txBody>
          <a:bodyPr>
            <a:normAutofit/>
          </a:bodyPr>
          <a:lstStyle/>
          <a:p>
            <a:pPr>
              <a:buClr>
                <a:srgbClr val="9B5E1E"/>
              </a:buClr>
            </a:pPr>
            <a:r>
              <a:rPr lang="en-US" dirty="0">
                <a:solidFill>
                  <a:srgbClr val="FFFFFE"/>
                </a:solidFill>
              </a:rPr>
              <a:t>Where in the world has most highly rated whisky?</a:t>
            </a:r>
          </a:p>
          <a:p>
            <a:pPr>
              <a:buClr>
                <a:srgbClr val="9B5E1E"/>
              </a:buClr>
            </a:pPr>
            <a:r>
              <a:rPr lang="en-US" dirty="0">
                <a:solidFill>
                  <a:srgbClr val="FFFFFE"/>
                </a:solidFill>
              </a:rPr>
              <a:t>Which country has the most distilleries?</a:t>
            </a:r>
          </a:p>
          <a:p>
            <a:pPr>
              <a:buClr>
                <a:srgbClr val="9B5E1E"/>
              </a:buClr>
            </a:pPr>
            <a:r>
              <a:rPr lang="en-US" dirty="0">
                <a:solidFill>
                  <a:srgbClr val="FFFFFE"/>
                </a:solidFill>
              </a:rPr>
              <a:t>Is there a visible relationship between the number of whiskies produced by a distillery and their average ratings?</a:t>
            </a:r>
          </a:p>
          <a:p>
            <a:pPr>
              <a:buClr>
                <a:srgbClr val="9B5E1E"/>
              </a:buClr>
            </a:pPr>
            <a:r>
              <a:rPr lang="en-US" dirty="0">
                <a:solidFill>
                  <a:srgbClr val="FFFFFE"/>
                </a:solidFill>
              </a:rPr>
              <a:t>What are the top-rated distilleries in both the world, and within a specific country?</a:t>
            </a:r>
          </a:p>
        </p:txBody>
      </p:sp>
    </p:spTree>
    <p:extLst>
      <p:ext uri="{BB962C8B-B14F-4D97-AF65-F5344CB8AC3E}">
        <p14:creationId xmlns:p14="http://schemas.microsoft.com/office/powerpoint/2010/main" val="19756364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lass of alcohol on a table&#10;&#10;Description automatically generated with low confidence">
            <a:extLst>
              <a:ext uri="{FF2B5EF4-FFF2-40B4-BE49-F238E27FC236}">
                <a16:creationId xmlns:a16="http://schemas.microsoft.com/office/drawing/2014/main" id="{0238846B-9EB2-4D40-B189-DB77D98B066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949" r="-1" b="15048"/>
          <a:stretch/>
        </p:blipFill>
        <p:spPr>
          <a:xfrm>
            <a:off x="2" y="10"/>
            <a:ext cx="12191695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2AF0D79-4A1A-4F27-B9F0-CF252C4AC9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178" y="636753"/>
            <a:ext cx="8299435" cy="5572810"/>
          </a:xfrm>
          <a:prstGeom prst="rect">
            <a:avLst/>
          </a:prstGeom>
          <a:solidFill>
            <a:srgbClr val="000001">
              <a:alpha val="7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8013AC-609C-9D40-B822-F1678A938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4017" y="804520"/>
            <a:ext cx="6815731" cy="104923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Data prepar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E83266B-97F8-4AB9-818F-3A70E8D858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306385" y="1847088"/>
            <a:ext cx="6813363" cy="0"/>
          </a:xfrm>
          <a:prstGeom prst="line">
            <a:avLst/>
          </a:prstGeom>
          <a:ln w="31750">
            <a:solidFill>
              <a:srgbClr val="FFB743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BA2A27-149B-6444-995F-AB52A0471C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4017" y="2015733"/>
            <a:ext cx="6815731" cy="4021267"/>
          </a:xfrm>
        </p:spPr>
        <p:txBody>
          <a:bodyPr>
            <a:normAutofit/>
          </a:bodyPr>
          <a:lstStyle/>
          <a:p>
            <a:pPr>
              <a:buClr>
                <a:srgbClr val="FFB743"/>
              </a:buClr>
            </a:pPr>
            <a:r>
              <a:rPr lang="en-US" dirty="0">
                <a:solidFill>
                  <a:srgbClr val="FFFFFE"/>
                </a:solidFill>
              </a:rPr>
              <a:t>We got our data from GitHub API page and  Whisky Base.</a:t>
            </a:r>
          </a:p>
          <a:p>
            <a:pPr>
              <a:buClr>
                <a:srgbClr val="FFB743"/>
              </a:buClr>
            </a:pPr>
            <a:r>
              <a:rPr lang="en-US" dirty="0">
                <a:solidFill>
                  <a:srgbClr val="FFFFFE"/>
                </a:solidFill>
              </a:rPr>
              <a:t>We imported the data and cleaned it using Pandas. The data was exported to SQLite where we used flask APIs to call the data for our HTML. </a:t>
            </a:r>
          </a:p>
          <a:p>
            <a:pPr>
              <a:buClr>
                <a:srgbClr val="FFB743"/>
              </a:buClr>
            </a:pPr>
            <a:r>
              <a:rPr lang="en-US" dirty="0">
                <a:solidFill>
                  <a:srgbClr val="FFFFFE"/>
                </a:solidFill>
              </a:rPr>
              <a:t>To </a:t>
            </a:r>
            <a:r>
              <a:rPr lang="en-US" dirty="0" err="1">
                <a:solidFill>
                  <a:srgbClr val="FFFFFE"/>
                </a:solidFill>
              </a:rPr>
              <a:t>visualise</a:t>
            </a:r>
            <a:r>
              <a:rPr lang="en-US" dirty="0">
                <a:solidFill>
                  <a:srgbClr val="FFFFFE"/>
                </a:solidFill>
              </a:rPr>
              <a:t> our data, we </a:t>
            </a:r>
            <a:r>
              <a:rPr lang="en-US" dirty="0">
                <a:solidFill>
                  <a:schemeClr val="bg1"/>
                </a:solidFill>
              </a:rPr>
              <a:t>used </a:t>
            </a:r>
            <a:r>
              <a:rPr lang="en-AU" dirty="0" err="1">
                <a:solidFill>
                  <a:schemeClr val="bg1"/>
                </a:solidFill>
                <a:latin typeface="Slack-Lato"/>
              </a:rPr>
              <a:t>Plotly</a:t>
            </a:r>
            <a:r>
              <a:rPr lang="en-AU" dirty="0">
                <a:solidFill>
                  <a:schemeClr val="bg1"/>
                </a:solidFill>
                <a:latin typeface="Slack-Lato"/>
              </a:rPr>
              <a:t>, </a:t>
            </a:r>
            <a:r>
              <a:rPr lang="en-AU" dirty="0" err="1">
                <a:solidFill>
                  <a:schemeClr val="bg1"/>
                </a:solidFill>
                <a:latin typeface="Slack-Lato"/>
              </a:rPr>
              <a:t>Highchart</a:t>
            </a:r>
            <a:r>
              <a:rPr lang="en-AU" dirty="0">
                <a:solidFill>
                  <a:schemeClr val="bg1"/>
                </a:solidFill>
                <a:latin typeface="Slack-Lato"/>
              </a:rPr>
              <a:t>, jQuery.</a:t>
            </a:r>
          </a:p>
          <a:p>
            <a:pPr>
              <a:buClr>
                <a:srgbClr val="FFB743"/>
              </a:buClr>
            </a:pPr>
            <a:r>
              <a:rPr lang="en-US" dirty="0">
                <a:solidFill>
                  <a:srgbClr val="FFFFFE"/>
                </a:solidFill>
              </a:rPr>
              <a:t>Other libraries used include D3 and </a:t>
            </a:r>
            <a:r>
              <a:rPr lang="en-US" dirty="0" err="1">
                <a:solidFill>
                  <a:srgbClr val="FFFFFE"/>
                </a:solidFill>
              </a:rPr>
              <a:t>Lodash</a:t>
            </a:r>
            <a:r>
              <a:rPr lang="en-US" dirty="0">
                <a:solidFill>
                  <a:srgbClr val="FFFFFE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057354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EBA8B9-6ADF-465B-872A-65D8C98685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6220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EBA8B9-6ADF-465B-872A-65D8C9868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596DEEAF-8F92-4BCD-B81A-EAE62871DD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6" y="0"/>
            <a:ext cx="1218852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286FC3A-AD00-584E-8A59-79637B14BE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1579" y="1289549"/>
            <a:ext cx="9603275" cy="1049235"/>
          </a:xfrm>
        </p:spPr>
        <p:txBody>
          <a:bodyPr vert="horz" lIns="91440" tIns="45720" rIns="91440" bIns="0" rtlCol="0" anchor="b">
            <a:normAutofit/>
          </a:bodyPr>
          <a:lstStyle/>
          <a:p>
            <a:r>
              <a:rPr lang="en-US" sz="4100" dirty="0">
                <a:solidFill>
                  <a:schemeClr val="bg1"/>
                </a:solidFill>
              </a:rPr>
              <a:t>DEPLOYMENT TO HEROKU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499A12-F068-3547-964B-56759BA59D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500762"/>
            <a:ext cx="9603275" cy="3450613"/>
          </a:xfrm>
        </p:spPr>
        <p:txBody>
          <a:bodyPr vert="horz" lIns="91440" tIns="91440" rIns="91440" bIns="91440" rtlCol="0">
            <a:normAutofit/>
          </a:bodyPr>
          <a:lstStyle/>
          <a:p>
            <a:pPr marL="0" indent="0">
              <a:buNone/>
            </a:pPr>
            <a:r>
              <a:rPr lang="en-AU" sz="160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isky Discography (whisky-discography.herokuapp.com)</a:t>
            </a:r>
            <a:endParaRPr lang="en-US" sz="1600" cap="al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7709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DEF727-79B1-4CE2-AA6B-E424C00C1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437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DEF727-79B1-4CE2-AA6B-E424C00C1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wooden&#10;&#10;Description automatically generated">
            <a:extLst>
              <a:ext uri="{FF2B5EF4-FFF2-40B4-BE49-F238E27FC236}">
                <a16:creationId xmlns:a16="http://schemas.microsoft.com/office/drawing/2014/main" id="{A066FB0A-762E-A149-B90D-957CBB5905E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764" r="4793" b="-1"/>
          <a:stretch/>
        </p:blipFill>
        <p:spPr>
          <a:xfrm>
            <a:off x="2" y="10"/>
            <a:ext cx="12191695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68B8211-0B9F-4516-8771-3316E00DB9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91643" y="636753"/>
            <a:ext cx="8299435" cy="5572811"/>
          </a:xfrm>
          <a:prstGeom prst="rect">
            <a:avLst/>
          </a:prstGeom>
          <a:solidFill>
            <a:srgbClr val="000001">
              <a:alpha val="7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D09449-FF1C-8B40-8F4F-12A161CADF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3421" y="804520"/>
            <a:ext cx="6815731" cy="1049235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Conclusion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582E73-8B46-4A0E-944E-58357C8088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65789" y="1847088"/>
            <a:ext cx="6813363" cy="0"/>
          </a:xfrm>
          <a:prstGeom prst="line">
            <a:avLst/>
          </a:prstGeom>
          <a:ln w="31750">
            <a:solidFill>
              <a:srgbClr val="AE874D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193FB7-94A1-0548-A604-84764B1A19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3421" y="2015733"/>
            <a:ext cx="6815731" cy="4021267"/>
          </a:xfrm>
        </p:spPr>
        <p:txBody>
          <a:bodyPr>
            <a:normAutofit/>
          </a:bodyPr>
          <a:lstStyle/>
          <a:p>
            <a:pPr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The highest rated whisky was in Italy, however it only had one vote.</a:t>
            </a:r>
          </a:p>
          <a:p>
            <a:pPr lvl="1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Perhaps its distiller was a bit biased?</a:t>
            </a:r>
          </a:p>
          <a:p>
            <a:pPr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United States had the most distilleries.</a:t>
            </a:r>
          </a:p>
          <a:p>
            <a:pPr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Scotland had the most reviewed distilleries.</a:t>
            </a:r>
          </a:p>
          <a:p>
            <a:pPr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Our website can be used by Whisky fans to find their next whisky to sample. They could also use the website to plan their next  Whisky road trip!</a:t>
            </a:r>
          </a:p>
          <a:p>
            <a:pPr>
              <a:buClr>
                <a:srgbClr val="AE874D"/>
              </a:buClr>
            </a:pPr>
            <a:endParaRPr lang="en-US" dirty="0">
              <a:solidFill>
                <a:srgbClr val="FFFFF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4768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DEF727-79B1-4CE2-AA6B-E424C00C1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739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DEF727-79B1-4CE2-AA6B-E424C00C1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5E4CF82-E05E-496A-A7D0-C6C47AC719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6" y="0"/>
            <a:ext cx="12187902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68B8211-0B9F-4516-8771-3316E00DB9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91643" y="636753"/>
            <a:ext cx="8299435" cy="5572811"/>
          </a:xfrm>
          <a:prstGeom prst="rect">
            <a:avLst/>
          </a:prstGeom>
          <a:solidFill>
            <a:srgbClr val="000001">
              <a:alpha val="7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D09449-FF1C-8B40-8F4F-12A161CADF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3421" y="804520"/>
            <a:ext cx="6815731" cy="1049235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NEXT STEP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582E73-8B46-4A0E-944E-58357C8088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65789" y="1847088"/>
            <a:ext cx="6813363" cy="0"/>
          </a:xfrm>
          <a:prstGeom prst="line">
            <a:avLst/>
          </a:prstGeom>
          <a:ln w="31750">
            <a:solidFill>
              <a:srgbClr val="AE874D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193FB7-94A1-0548-A604-84764B1A19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3421" y="2015733"/>
            <a:ext cx="6815731" cy="4021267"/>
          </a:xfrm>
        </p:spPr>
        <p:txBody>
          <a:bodyPr>
            <a:normAutofit/>
          </a:bodyPr>
          <a:lstStyle/>
          <a:p>
            <a:pPr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With more time:</a:t>
            </a:r>
          </a:p>
          <a:p>
            <a:pPr lvl="1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Plot the individual distilleries (requires a </a:t>
            </a:r>
            <a:r>
              <a:rPr lang="en-US" dirty="0" err="1">
                <a:solidFill>
                  <a:srgbClr val="FFFFFE"/>
                </a:solidFill>
              </a:rPr>
              <a:t>GeoJSON</a:t>
            </a:r>
            <a:r>
              <a:rPr lang="en-US" dirty="0">
                <a:solidFill>
                  <a:srgbClr val="FFFFFE"/>
                </a:solidFill>
              </a:rPr>
              <a:t>).</a:t>
            </a:r>
          </a:p>
          <a:p>
            <a:pPr lvl="1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Add whisky characteristics to the study.</a:t>
            </a:r>
          </a:p>
          <a:p>
            <a:pPr lvl="2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This could include price.</a:t>
            </a:r>
          </a:p>
          <a:p>
            <a:pPr lvl="1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Increased the filterability of the data table.</a:t>
            </a:r>
          </a:p>
          <a:p>
            <a:pPr lvl="2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Perhaps add summary statistics to the jQuery table.</a:t>
            </a:r>
          </a:p>
          <a:p>
            <a:pPr lvl="1">
              <a:buClr>
                <a:srgbClr val="AE874D"/>
              </a:buClr>
            </a:pPr>
            <a:r>
              <a:rPr lang="en-US" dirty="0">
                <a:solidFill>
                  <a:srgbClr val="FFFFFE"/>
                </a:solidFill>
              </a:rPr>
              <a:t>Add a Comparisons page which allows side by side comparisons of whiskies and / or distilleries by country.</a:t>
            </a:r>
          </a:p>
        </p:txBody>
      </p:sp>
    </p:spTree>
    <p:extLst>
      <p:ext uri="{BB962C8B-B14F-4D97-AF65-F5344CB8AC3E}">
        <p14:creationId xmlns:p14="http://schemas.microsoft.com/office/powerpoint/2010/main" val="3754315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104</TotalTime>
  <Words>267</Words>
  <Application>Microsoft Office PowerPoint</Application>
  <PresentationFormat>Widescreen</PresentationFormat>
  <Paragraphs>2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Gill Sans MT</vt:lpstr>
      <vt:lpstr>Slack-Lato</vt:lpstr>
      <vt:lpstr>Gallery</vt:lpstr>
      <vt:lpstr>think-cell Slide</vt:lpstr>
      <vt:lpstr>WHISKY Discography</vt:lpstr>
      <vt:lpstr>The Motivation</vt:lpstr>
      <vt:lpstr>Questions – Whisky hunters</vt:lpstr>
      <vt:lpstr>Data preparation</vt:lpstr>
      <vt:lpstr>DEPLOYMENT TO HEROKU</vt:lpstr>
      <vt:lpstr>Conclusions</vt:lpstr>
      <vt:lpstr>NEXT STEP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ISKY Discography</dc:title>
  <dc:creator>Stephanie S</dc:creator>
  <cp:lastModifiedBy>Vella, Matt (Rivervale) AUS</cp:lastModifiedBy>
  <cp:revision>5</cp:revision>
  <dcterms:created xsi:type="dcterms:W3CDTF">2021-07-18T13:42:56Z</dcterms:created>
  <dcterms:modified xsi:type="dcterms:W3CDTF">2021-07-22T10:33:27Z</dcterms:modified>
</cp:coreProperties>
</file>